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193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246204-11BB-44D2-99D0-0BFEEB65B963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787ABE-D053-4FF7-83BD-60D209CE1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270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745B09-AD31-409C-B2BB-E7C534396A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74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E6278-D518-D9E6-7FDA-3F15389A69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C413F-B5E3-1F70-02A8-62279A940E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7E5070-C7CC-7A1B-4662-40763F0DD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F3A12-B02D-60B2-8DE4-2167ACBA4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8EB2B-1151-E9AE-F6BB-65953EB1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447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5BC83-1020-6B0D-8A40-21580D4D1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203F42-4C5D-B340-C4BE-9DB88E76D1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8920D4-E561-C23A-730F-A387165FF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642C2-B9DF-D253-C835-91C8CF11F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7D627-3BE5-668B-7957-49C19E383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086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F8B955A-084B-4081-8556-AECE245FB2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FFB596-8EF4-C5FF-027B-968EBD4BB3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93DB6A-BC60-90A9-9CBC-D71DEDE6FE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1C7CA7-5B6B-5A40-77B8-ECF1AC3FE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DF07E-10B8-F33A-B7CB-964E0C6A6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94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err="1"/>
          </a:p>
        </p:txBody>
      </p:sp>
      <p:sp>
        <p:nvSpPr>
          <p:cNvPr id="15" name="TextBox 24"/>
          <p:cNvSpPr txBox="1">
            <a:spLocks noChangeArrowheads="1"/>
          </p:cNvSpPr>
          <p:nvPr userDrawn="1"/>
        </p:nvSpPr>
        <p:spPr bwMode="auto">
          <a:xfrm>
            <a:off x="378794" y="6596401"/>
            <a:ext cx="292099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Prizmetric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 2023.  All Rights Reserved.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Confidential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 panose="020B0604020101020102" pitchFamily="34" charset="0"/>
              <a:ea typeface="ＭＳ Ｐゴシック" charset="0"/>
              <a:cs typeface="3M Circular TT Book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1224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66B8C-EFD4-A81A-AF56-5360FFA88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FAD73-73CF-C210-815D-C45D401486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956EB5-E986-BDE8-4730-6D37A6DA9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1DCF4-40B0-28C7-AA76-F1C78F153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5250E-E8FA-C978-1C96-140A51293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491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396F27-3E13-4D0F-002B-6E6A82AED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D16BE-15F6-015C-B1C7-65B049A9C1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F528C9-5759-DD3E-AF03-5CC8DE045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B99BE5-7DD9-2A68-76B2-D33A59A76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FECEA-9032-250A-1FCA-586E4DD69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871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6BE2B-C40E-B25B-1AAE-5903C961A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E3261C-0F1A-D59D-22BF-4DFE3188FC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AB91C73-522F-67C2-F514-46151B21AB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8352F5-C160-A64D-BA4D-23B0B7464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F06A7D-BBE8-D221-BA46-3D97CAB0E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B46795-64D8-3B97-F83E-D3FFD7835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513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64CD6-0471-4FAF-E1FE-0F78E6631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BB0B93-CA92-9EAF-4687-C810A4CB5B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657B1-84F1-5882-77D1-EA9EE29D1E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F3FFFC-DF03-1DC4-0666-CD910E0360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91F205-7ED3-FD51-D3E5-338EE5E096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8420BF-3B27-8DF8-714A-8E896B2CE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B4B515-627C-340C-83C0-49895AF7C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AA0503-9ECF-FE2A-45B0-ABFD9ABC9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925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E73C1-ECA7-BFCF-C4A2-0644460D2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6DAB67-0F0B-D40E-D8E8-E2045E562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32B633-FD9C-2BC7-45FB-EFE346B00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86C0D9-993F-8E32-DC7C-45D9F3393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252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A0785A-B6EB-0220-2369-402641C89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4ACF70-8E3C-3436-E15A-8F968F9AB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D395AB-B89D-B9C6-3BA4-FF93F6C7B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727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4C201-7CE7-79AF-5937-C21267AB89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E1A2F0-A58E-86CE-B6CF-FCF20A15F5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19AA5F-8711-9E64-98A2-A2E58F5F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26CB0B-566B-C7C1-0208-4B876A564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DD9902-B662-0961-5F49-29CCF9B02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1406EB-320E-525E-A803-72AB39E57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888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68C5E-3AAD-C4E5-7756-142715C62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2224D8-B444-F68B-FE3F-1C8D38A6C0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3F17C-4BFE-21C5-2F67-DD7301B09C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4B5E7F-B7D9-72EE-23DA-877DBF0EE0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07E8C0-25F9-5FFE-30BE-D1DAD335FC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2EC62B-2E18-30C7-F068-5322980E3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89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635CA0-4349-C527-0BA8-9AC1CCBFD5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E6698E-DCB7-3D36-0672-754D9EAF82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A4AE1-1C65-F442-23E8-CA94D6F93A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EE19A0-7ADF-4F18-95CA-00BF74F1DAA2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D207D6-35F9-D9BB-52DB-C009F2B09C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05D3DD-7286-62DC-CE36-C38E8D136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9D835E-3024-4C54-B1C7-66CE14084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190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6238875" y="4214082"/>
            <a:ext cx="5355980" cy="224313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8093" y="278391"/>
            <a:ext cx="11151622" cy="5226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Prizmetric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: Marketing Project Jumpstar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Problem Statement &amp; Desired Outcom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617660" y="1123950"/>
            <a:ext cx="5356225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oblem Statem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38875" y="3842608"/>
            <a:ext cx="5353049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Scop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238875" y="1122759"/>
            <a:ext cx="5353049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Desired Outcomes (Examples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882251" y="4623765"/>
            <a:ext cx="1608134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Consumer produ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Highly specified produc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29450" y="4623765"/>
            <a:ext cx="3062225" cy="1408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All Industrial businesses which utilize distribution as a sales model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Scalable to appropriate customer size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Required: Sales team alignment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Key support functions currently within target compani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8147" y="1527284"/>
            <a:ext cx="5355980" cy="49638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38875" y="1495425"/>
            <a:ext cx="5355980" cy="22750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6519925" y="4551613"/>
            <a:ext cx="2855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0096500" y="4551613"/>
            <a:ext cx="12763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6447490" y="4283485"/>
            <a:ext cx="9236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In-Scop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991725" y="4283485"/>
            <a:ext cx="13179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Out-of-Scop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519925" y="1593129"/>
            <a:ext cx="4621567" cy="18774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 Short-term action plan (&lt;2 years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Identify target customers using a customized prioritization matrix. Efficient asset allocation for profitable sales growth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Understand go-to-market proces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marL="628650" lvl="1" indent="-17145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Action plans that are immediately </a:t>
            </a: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deployable</a:t>
            </a:r>
          </a:p>
          <a:p>
            <a:pPr marL="628650" lvl="1" indent="-17145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Capabilities that must be developed to secure long-term competitive advantage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88485" y="1548233"/>
            <a:ext cx="4811637" cy="1531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Industrial markets are comprised of a non-linear, end-to-end value chain. Data sources are abundant yet disconnected.  But its customers are experiencing behavioral change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lvl="0" algn="ctr">
              <a:spcAft>
                <a:spcPts val="300"/>
              </a:spcAf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…can we anticipate and predict these shifts as they occur? Can we use that insight to proactively position ourselves to help our partners succeed in this new </a:t>
            </a:r>
            <a:r>
              <a:rPr lang="en-US" sz="1200" b="1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reality, improving revenue generation?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35" name="Isosceles Triangle 34"/>
          <p:cNvSpPr/>
          <p:nvPr/>
        </p:nvSpPr>
        <p:spPr>
          <a:xfrm rot="10800000">
            <a:off x="888240" y="2972704"/>
            <a:ext cx="4811882" cy="30777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23233" y="3202151"/>
            <a:ext cx="13628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Key Quest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21DC62-B7F7-4BB6-8967-2EE2511F8D12}"/>
              </a:ext>
            </a:extLst>
          </p:cNvPr>
          <p:cNvSpPr txBox="1"/>
          <p:nvPr/>
        </p:nvSpPr>
        <p:spPr>
          <a:xfrm>
            <a:off x="871924" y="7016856"/>
            <a:ext cx="5224076" cy="2439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o are ISMC customers, what are their strengths, what is their vision for the future?  What could disrupt them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How large/attractive is the industrial distribution market, and how will it grow/shrink in the 5 yea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are ISMC’s capabilities today? How should they chang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do end-users value?  What will they value in 5 years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adjustments must be made to the ISMC to retain a competitive advantag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523C4FB-E05F-4B46-95C2-068BB72FC0DE}"/>
              </a:ext>
            </a:extLst>
          </p:cNvPr>
          <p:cNvSpPr txBox="1"/>
          <p:nvPr/>
        </p:nvSpPr>
        <p:spPr>
          <a:xfrm>
            <a:off x="982927" y="3435141"/>
            <a:ext cx="4959298" cy="290848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capabilities &amp; strategies should WE be driving to position for profitable growth? Is there a Marketing Plan being deployed/ Describe your go-to-market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How are your marketing tactics directly driving end-user relevanc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role should analytics capabilities play to help scale growth?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key players, technologies, trends, and competitive forces are shaping the market? Can we tap into these key players using predictive analytics?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can we conclude about the likely “future state” of the industrial channel? What will it look like in five years’ time? What are the risks and opportunities for us?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Do you have a budget for this? Are there any constraints?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98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40</TotalTime>
  <Words>366</Words>
  <Application>Microsoft Office PowerPoint</Application>
  <PresentationFormat>Widescreen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3M Circular TT Bold</vt:lpstr>
      <vt:lpstr>3M Circular TT Book</vt:lpstr>
      <vt:lpstr>3M Circular TT Light</vt:lpstr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 Kinsky</dc:creator>
  <cp:lastModifiedBy>Tim Kinsky</cp:lastModifiedBy>
  <cp:revision>1</cp:revision>
  <dcterms:created xsi:type="dcterms:W3CDTF">2023-02-23T19:33:07Z</dcterms:created>
  <dcterms:modified xsi:type="dcterms:W3CDTF">2023-02-25T22:14:07Z</dcterms:modified>
</cp:coreProperties>
</file>